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</p:sldMasterIdLst>
  <p:notesMasterIdLst>
    <p:notesMasterId r:id="rId10"/>
  </p:notesMasterIdLst>
  <p:handoutMasterIdLst>
    <p:handoutMasterId r:id="rId11"/>
  </p:handoutMasterIdLst>
  <p:sldIdLst>
    <p:sldId id="351" r:id="rId2"/>
    <p:sldId id="344" r:id="rId3"/>
    <p:sldId id="345" r:id="rId4"/>
    <p:sldId id="346" r:id="rId5"/>
    <p:sldId id="347" r:id="rId6"/>
    <p:sldId id="348" r:id="rId7"/>
    <p:sldId id="349" r:id="rId8"/>
    <p:sldId id="350" r:id="rId9"/>
  </p:sldIdLst>
  <p:sldSz cx="9144000" cy="6858000" type="screen4x3"/>
  <p:notesSz cx="7099300" cy="10234613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014A13F2-5EFA-49B0-88F3-20EAB2D05807}">
          <p14:sldIdLst>
            <p14:sldId id="351"/>
            <p14:sldId id="344"/>
            <p14:sldId id="345"/>
            <p14:sldId id="346"/>
            <p14:sldId id="347"/>
            <p14:sldId id="348"/>
            <p14:sldId id="349"/>
            <p14:sldId id="350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559C"/>
    <a:srgbClr val="EE7F00"/>
    <a:srgbClr val="005596"/>
    <a:srgbClr val="004788"/>
    <a:srgbClr val="A6A6A6"/>
    <a:srgbClr val="BFBFBF"/>
    <a:srgbClr val="585858"/>
    <a:srgbClr val="39A9DC"/>
    <a:srgbClr val="172D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02" autoAdjust="0"/>
    <p:restoredTop sz="86627" autoAdjust="0"/>
  </p:normalViewPr>
  <p:slideViewPr>
    <p:cSldViewPr snapToObjects="1" showGuides="1">
      <p:cViewPr>
        <p:scale>
          <a:sx n="100" d="100"/>
          <a:sy n="100" d="100"/>
        </p:scale>
        <p:origin x="-845" y="-110"/>
      </p:cViewPr>
      <p:guideLst>
        <p:guide orient="horz" pos="2160"/>
        <p:guide orient="horz" pos="3339"/>
        <p:guide orient="horz" pos="2478"/>
        <p:guide orient="horz" pos="822"/>
        <p:guide orient="horz" pos="3498"/>
        <p:guide pos="3356"/>
        <p:guide pos="15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0" d="100"/>
        <a:sy n="140" d="100"/>
      </p:scale>
      <p:origin x="0" y="822"/>
    </p:cViewPr>
  </p:sorterViewPr>
  <p:notesViewPr>
    <p:cSldViewPr snapToObjects="1" showGuides="1">
      <p:cViewPr varScale="1">
        <p:scale>
          <a:sx n="63" d="100"/>
          <a:sy n="63" d="100"/>
        </p:scale>
        <p:origin x="-3084" y="-102"/>
      </p:cViewPr>
      <p:guideLst>
        <p:guide orient="horz" pos="3224"/>
        <p:guide pos="223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7137" cy="512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0507" y="0"/>
            <a:ext cx="3077137" cy="512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0673"/>
            <a:ext cx="3077137" cy="51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0507" y="9720673"/>
            <a:ext cx="3077137" cy="51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cs typeface="+mn-cs"/>
              </a:defRPr>
            </a:lvl1pPr>
          </a:lstStyle>
          <a:p>
            <a:pPr>
              <a:defRPr/>
            </a:pPr>
            <a:fld id="{56DD5F0F-3C24-4D80-A625-C5BFD8111322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77901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7137" cy="512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0507" y="0"/>
            <a:ext cx="3077137" cy="512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2188" y="769938"/>
            <a:ext cx="5114925" cy="38354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9600" y="4861156"/>
            <a:ext cx="5680103" cy="46058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389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0673"/>
            <a:ext cx="3077137" cy="51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0507" y="9720673"/>
            <a:ext cx="3077137" cy="51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cs typeface="+mn-cs"/>
              </a:defRPr>
            </a:lvl1pPr>
          </a:lstStyle>
          <a:p>
            <a:pPr>
              <a:defRPr/>
            </a:pPr>
            <a:fld id="{DA859317-F8E0-4391-80D7-7DC94CFB279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6338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1049338" y="801688"/>
            <a:ext cx="5057775" cy="37941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3314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30274" y="4887085"/>
            <a:ext cx="5223844" cy="459531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1049338" y="801688"/>
            <a:ext cx="5057775" cy="37941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433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30274" y="4887085"/>
            <a:ext cx="5223844" cy="459531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1049338" y="801688"/>
            <a:ext cx="5057775" cy="37941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5362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30274" y="4887085"/>
            <a:ext cx="5223844" cy="459531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1049338" y="801688"/>
            <a:ext cx="5057775" cy="37941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638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30274" y="4887085"/>
            <a:ext cx="5223844" cy="459531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1049338" y="801688"/>
            <a:ext cx="5057775" cy="37941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7410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30274" y="4887085"/>
            <a:ext cx="5223844" cy="459531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1049338" y="801688"/>
            <a:ext cx="5057775" cy="37941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8434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30274" y="4887085"/>
            <a:ext cx="5223844" cy="459531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1049338" y="801688"/>
            <a:ext cx="5057775" cy="37941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945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30274" y="4887085"/>
            <a:ext cx="5223844" cy="459531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0"/>
          <p:cNvSpPr>
            <a:spLocks noGrp="1"/>
          </p:cNvSpPr>
          <p:nvPr>
            <p:ph type="body" sz="quarter" idx="16"/>
          </p:nvPr>
        </p:nvSpPr>
        <p:spPr>
          <a:xfrm>
            <a:off x="252480" y="1449388"/>
            <a:ext cx="8640000" cy="5003800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806FCDBD-BA8A-48AD-A5E8-B443CE27A35D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4" y="3198402"/>
            <a:ext cx="3420951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Kenntnisse und Themenschwerpunkte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kt Erfahrung (Auszug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Vor und Nach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el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4F0B6A2F-0A00-4A47-AE88-93E132574DAD}" type="datetime1">
              <a:rPr lang="de-DE" smtClean="0"/>
              <a:t>15.11.20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87176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6455" y="1484313"/>
            <a:ext cx="2486025" cy="4860925"/>
          </a:xfrm>
          <a:prstGeom prst="rect">
            <a:avLst/>
          </a:prstGeom>
        </p:spPr>
      </p:pic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4C2478CF-A8BB-4735-8C50-5038FF4E8820}" type="datetime1">
              <a:rPr lang="de-DE" smtClean="0"/>
              <a:t>15.11.20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034466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508" y="8620"/>
            <a:ext cx="9145016" cy="1656184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15" name="Picture 5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0"/>
            <a:ext cx="9144509" cy="686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hteck 15"/>
          <p:cNvSpPr/>
          <p:nvPr userDrawn="1"/>
        </p:nvSpPr>
        <p:spPr bwMode="auto">
          <a:xfrm>
            <a:off x="0" y="4572508"/>
            <a:ext cx="9144508" cy="2291430"/>
          </a:xfrm>
          <a:prstGeom prst="rect">
            <a:avLst/>
          </a:prstGeom>
          <a:solidFill>
            <a:srgbClr val="A6A6A6">
              <a:alpha val="80000"/>
            </a:srgbClr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dirty="0" smtClean="0">
              <a:sym typeface="Arial" charset="0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1519" y="5651068"/>
            <a:ext cx="8640000" cy="73026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buNone/>
              <a:defRPr sz="16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</a:lstStyle>
          <a:p>
            <a:pPr algn="l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e, etc </a:t>
            </a:r>
            <a:r>
              <a:rPr lang="de-DE" dirty="0" smtClean="0"/>
              <a:t>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51519" y="4833156"/>
            <a:ext cx="8640000" cy="792088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>
              <a:buNone/>
              <a:defRPr sz="2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Headline (Arial, 24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</a:p>
        </p:txBody>
      </p:sp>
      <p:sp>
        <p:nvSpPr>
          <p:cNvPr id="18" name="Rechteck 2"/>
          <p:cNvSpPr/>
          <p:nvPr userDrawn="1"/>
        </p:nvSpPr>
        <p:spPr bwMode="gray">
          <a:xfrm>
            <a:off x="6882972" y="6417332"/>
            <a:ext cx="2052638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eaLnBrk="0" hangingPunct="0">
              <a:defRPr/>
            </a:pPr>
            <a:r>
              <a:rPr lang="de-DE" sz="1000" b="0" dirty="0" smtClean="0">
                <a:solidFill>
                  <a:schemeClr val="bg1"/>
                </a:solidFill>
                <a:cs typeface="+mn-cs"/>
              </a:rPr>
              <a:t>© Faktor Zehn AG 2012</a:t>
            </a:r>
            <a:endParaRPr lang="de-DE" sz="1000" b="0" dirty="0">
              <a:solidFill>
                <a:schemeClr val="bg1"/>
              </a:solidFill>
              <a:cs typeface="+mn-cs"/>
            </a:endParaRPr>
          </a:p>
        </p:txBody>
      </p:sp>
      <p:pic>
        <p:nvPicPr>
          <p:cNvPr id="1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Logo_blau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622996" y="297026"/>
            <a:ext cx="2089464" cy="719705"/>
          </a:xfrm>
          <a:prstGeom prst="rect">
            <a:avLst/>
          </a:prstGeom>
          <a:effectLst>
            <a:outerShdw sx="1000" sy="1000" algn="tl" rotWithShape="0">
              <a:prstClr val="black"/>
            </a:outerShdw>
          </a:effectLst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380" y="-11507"/>
            <a:ext cx="9172391" cy="6876000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244284" y="6677130"/>
            <a:ext cx="8612192" cy="180870"/>
          </a:xfrm>
          <a:prstGeom prst="rect">
            <a:avLst/>
          </a:prstGeom>
        </p:spPr>
        <p:txBody>
          <a:bodyPr wrap="square" lIns="0" tIns="0" rIns="36000" bIns="0" anchor="ctr"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noProof="0" dirty="0" smtClean="0">
                <a:solidFill>
                  <a:schemeClr val="tx1"/>
                </a:solidFill>
              </a:rPr>
              <a:t>Germany 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witzerland  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</a:t>
            </a:r>
            <a:r>
              <a:rPr lang="en-US" sz="800" b="1" kern="120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UK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outh Africa      Austria      Spain      USA      Hungary  </a:t>
            </a:r>
            <a:r>
              <a:rPr lang="en-US" sz="800" b="1" noProof="0" dirty="0" smtClean="0">
                <a:solidFill>
                  <a:schemeClr val="tx1"/>
                </a:solidFill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</a:t>
            </a:r>
            <a:r>
              <a:rPr lang="en-US" sz="800" b="1" kern="1200" baseline="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Russia      Serbia      Italy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endParaRPr lang="en-US" sz="800" b="1" kern="1200" noProof="0" dirty="0">
              <a:solidFill>
                <a:schemeClr val="tx1"/>
              </a:solidFill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97893" y="2420888"/>
            <a:ext cx="4948214" cy="1310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558683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284" y="1448780"/>
            <a:ext cx="8640000" cy="524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hteck 9"/>
          <p:cNvSpPr/>
          <p:nvPr userDrawn="1"/>
        </p:nvSpPr>
        <p:spPr bwMode="auto">
          <a:xfrm>
            <a:off x="-508" y="620688"/>
            <a:ext cx="9145016" cy="699531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9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B32E5C60-63F7-42F5-9068-CC2E130EA711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561168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76046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2306EF76-2578-402D-902C-642D7B05DC97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250825" y="1808163"/>
            <a:ext cx="8640763" cy="4681537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50621D4C-FA3B-4C38-8559-4FAE6A1FAAB7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614943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B3A22E8C-5934-43F3-86F8-98CCEB4102C8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EB79483F-27B2-409B-B3BA-DD09D3C3F6CA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825" y="1089466"/>
            <a:ext cx="8640000" cy="5585551"/>
          </a:xfrm>
          <a:prstGeom prst="rect">
            <a:avLst/>
          </a:prstGeom>
        </p:spPr>
      </p:pic>
      <p:sp>
        <p:nvSpPr>
          <p:cNvPr id="11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30674539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31C0904E-4373-4E9F-B457-2A87FA705767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252000" y="1088740"/>
            <a:ext cx="8640000" cy="558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455060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format text (Arial, 14 pt)</a:t>
            </a:r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en-US" noProof="0" smtClean="0"/>
              <a:t>Add picture by clicking graphic symbol</a:t>
            </a:r>
            <a:endParaRPr lang="en-US" noProof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Customer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Line of Business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Period of Time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Your Contact</a:t>
            </a:r>
            <a:r>
              <a:rPr lang="en-US" sz="1200" b="1" kern="1200" baseline="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 Person</a:t>
            </a:r>
            <a:endParaRPr lang="en-US" sz="1200" b="1" kern="1200" noProof="0" dirty="0" smtClean="0">
              <a:solidFill>
                <a:srgbClr val="00559C"/>
              </a:solidFill>
              <a:latin typeface="+mn-lt"/>
              <a:ea typeface="+mn-ea"/>
              <a:cs typeface="Arial" charset="0"/>
            </a:endParaRP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0,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0" kern="1200" noProof="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th (s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050" b="0" kern="1200" noProof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noProof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3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noProof="0" smtClean="0"/>
              <a:t>Power Point Master Faktor Zehn 2012</a:t>
            </a:r>
            <a:endParaRPr lang="de-DE" noProof="0"/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3D1EC1A4-E038-4CEC-A79C-B97A33C334E3}" type="datetime1">
              <a:rPr lang="de-DE" smtClean="0"/>
              <a:t>15.11.2012</a:t>
            </a:fld>
            <a:endParaRPr lang="de-DE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Kunde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Branche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Zeitraum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Ihre Kontaktperson</a:t>
            </a: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0,5 pt)</a:t>
            </a:r>
            <a:endParaRPr lang="de-DE" dirty="0" smtClean="0"/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0" kern="120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at (e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050" b="0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9418CDD4-90B8-485E-ABB1-0AFD4344C6EC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23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0775244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5" y="3198402"/>
            <a:ext cx="3282946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Skills and Main Topics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ct Experience  (</a:t>
            </a:r>
            <a:r>
              <a:rPr lang="de-DE" sz="1400" b="1" kern="1200" dirty="0" err="1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Extract</a:t>
            </a: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First and Family 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le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DCD55447-664D-46BB-A25E-9B56CE435395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1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2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>
          <a:outerShdw dist="107763" dir="2700000" algn="ctr" rotWithShape="0">
            <a:srgbClr val="000000"/>
          </a:outerShdw>
        </a:effectLst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 preferRelativeResize="0">
            <a:picLocks noChangeArrowheads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1520" y="667800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2"/>
          <p:cNvPicPr preferRelativeResize="0">
            <a:picLocks noChangeArrowheads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2000" y="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30" name="Textplatzhalter 24"/>
          <p:cNvSpPr>
            <a:spLocks noGrp="1"/>
          </p:cNvSpPr>
          <p:nvPr userDrawn="1">
            <p:ph type="body" idx="1"/>
          </p:nvPr>
        </p:nvSpPr>
        <p:spPr bwMode="auto">
          <a:xfrm>
            <a:off x="250825" y="1449388"/>
            <a:ext cx="8640000" cy="504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sz="1600" dirty="0" smtClean="0"/>
              <a:t>First </a:t>
            </a:r>
            <a:r>
              <a:rPr lang="de-DE" sz="1600" dirty="0" err="1" smtClean="0"/>
              <a:t>level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bullet</a:t>
            </a:r>
            <a:r>
              <a:rPr lang="de-DE" sz="1600" dirty="0" smtClean="0"/>
              <a:t> (Arial, 16 </a:t>
            </a:r>
            <a:r>
              <a:rPr lang="de-DE" sz="1600" dirty="0" err="1" smtClean="0"/>
              <a:t>pt</a:t>
            </a:r>
            <a:r>
              <a:rPr lang="de-DE" sz="1600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sz="1400" dirty="0" smtClean="0"/>
              <a:t>Secon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</a:t>
            </a:r>
            <a:r>
              <a:rPr lang="de-DE" sz="1400" dirty="0" err="1" smtClean="0"/>
              <a:t>bulles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4"/>
            <a:r>
              <a:rPr lang="de-DE" sz="1400" dirty="0" smtClean="0"/>
              <a:t>Thir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6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7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8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0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683588" y="6677130"/>
            <a:ext cx="180000" cy="18000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 |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6840252" y="6677130"/>
            <a:ext cx="2051483" cy="18087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© </a:t>
            </a:r>
            <a:r>
              <a:rPr lang="en-US" sz="700" b="1" kern="120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Faktor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baseline="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Zehn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AG – A ConVista Company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0" name="Titelplatzhalter 21"/>
          <p:cNvSpPr>
            <a:spLocks noGrp="1"/>
          </p:cNvSpPr>
          <p:nvPr userDrawn="1"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47A10E38-5EBE-413A-9F63-558C32A1D969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13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8" name="Straight Connector 7"/>
          <p:cNvCxnSpPr/>
          <p:nvPr userDrawn="1"/>
        </p:nvCxnSpPr>
        <p:spPr>
          <a:xfrm>
            <a:off x="250824" y="1088740"/>
            <a:ext cx="8640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90" r:id="rId2"/>
    <p:sldLayoutId id="2147483697" r:id="rId3"/>
    <p:sldLayoutId id="2147483688" r:id="rId4"/>
    <p:sldLayoutId id="2147483691" r:id="rId5"/>
    <p:sldLayoutId id="2147483700" r:id="rId6"/>
    <p:sldLayoutId id="2147483674" r:id="rId7"/>
    <p:sldLayoutId id="2147483704" r:id="rId8"/>
    <p:sldLayoutId id="2147483675" r:id="rId9"/>
    <p:sldLayoutId id="2147483705" r:id="rId10"/>
    <p:sldLayoutId id="2147483702" r:id="rId11"/>
    <p:sldLayoutId id="2147483679" r:id="rId12"/>
    <p:sldLayoutId id="2147483692" r:id="rId13"/>
    <p:sldLayoutId id="2147483701" r:id="rId14"/>
    <p:sldLayoutId id="2147483706" r:id="rId15"/>
  </p:sldLayoutIdLst>
  <p:transition spd="slow"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22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5pPr>
      <a:lvl6pPr marL="4572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6pPr>
      <a:lvl7pPr marL="9144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7pPr>
      <a:lvl8pPr marL="13716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8pPr>
      <a:lvl9pPr marL="18288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9pPr>
    </p:titleStyle>
    <p:bodyStyle>
      <a:lvl1pPr marL="0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kumimoji="1" lang="de-DE" sz="1600" b="0">
          <a:solidFill>
            <a:schemeClr val="tx2"/>
          </a:solidFill>
          <a:latin typeface="+mn-lt"/>
          <a:ea typeface="+mn-ea"/>
          <a:cs typeface="+mn-cs"/>
        </a:defRPr>
      </a:lvl1pPr>
      <a:lvl2pPr marL="173038" indent="-173038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tabLst/>
        <a:defRPr sz="1600">
          <a:solidFill>
            <a:schemeClr val="tx2"/>
          </a:solidFill>
          <a:latin typeface="+mn-lt"/>
        </a:defRPr>
      </a:lvl2pPr>
      <a:lvl3pPr marL="173038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3pPr>
      <a:lvl4pPr marL="361950" indent="-188913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4pPr>
      <a:lvl5pPr marL="361950" indent="0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5pPr>
      <a:lvl6pPr marL="536575" indent="-174625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6pPr>
      <a:lvl7pPr marL="536575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200">
          <a:solidFill>
            <a:schemeClr val="tx2"/>
          </a:solidFill>
          <a:latin typeface="+mn-lt"/>
        </a:defRPr>
      </a:lvl7pPr>
      <a:lvl8pPr marL="725488" indent="-188913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tabLst>
          <a:tab pos="725488" algn="l"/>
        </a:tabLst>
        <a:defRPr sz="1200" baseline="0">
          <a:solidFill>
            <a:schemeClr val="tx2"/>
          </a:solidFill>
          <a:latin typeface="+mn-lt"/>
        </a:defRPr>
      </a:lvl8pPr>
      <a:lvl9pPr marL="725488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000" baseline="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6669691"/>
              </p:ext>
            </p:extLst>
          </p:nvPr>
        </p:nvGraphicFramePr>
        <p:xfrm>
          <a:off x="250825" y="1233488"/>
          <a:ext cx="8623300" cy="4951397"/>
        </p:xfrm>
        <a:graphic>
          <a:graphicData uri="http://schemas.openxmlformats.org/drawingml/2006/table">
            <a:tbl>
              <a:tblPr/>
              <a:tblGrid>
                <a:gridCol w="8623300"/>
              </a:tblGrid>
              <a:tr h="290859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200" b="0" dirty="0" smtClean="0"/>
                        <a:t>…</a:t>
                      </a:r>
                      <a:endParaRPr lang="de-DE" sz="1200" b="0" dirty="0" smtClean="0"/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894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endParaRPr kumimoji="0" lang="en-US" sz="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0859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200" b="0" dirty="0" smtClean="0"/>
                        <a:t>3.5 Verwendung</a:t>
                      </a:r>
                      <a:r>
                        <a:rPr lang="de-DE" sz="1200" b="0" baseline="0" dirty="0" smtClean="0"/>
                        <a:t> von Aufzählungen</a:t>
                      </a:r>
                      <a:endParaRPr lang="de-DE" sz="1200" b="0" dirty="0" smtClean="0"/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68948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4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085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6 Verwendung</a:t>
                      </a:r>
                      <a:r>
                        <a:rPr lang="de-DE" sz="1200" baseline="0" dirty="0" smtClean="0"/>
                        <a:t> von Formeln</a:t>
                      </a:r>
                      <a:endParaRPr lang="de-DE" sz="1200" dirty="0" smtClean="0"/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894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0859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3.7 </a:t>
                      </a:r>
                      <a:r>
                        <a:rPr kumimoji="0" 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Kopieren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von </a:t>
                      </a:r>
                      <a:r>
                        <a:rPr kumimoji="0" 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Produkten</a:t>
                      </a: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894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0"/>
                      </a:srgbClr>
                    </a:solidFill>
                  </a:tcPr>
                </a:tc>
              </a:tr>
              <a:tr h="290859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b="0" dirty="0" smtClean="0"/>
                        <a:t>3.8 Customizing</a:t>
                      </a:r>
                      <a:r>
                        <a:rPr lang="de-DE" sz="1200" b="0" baseline="0" dirty="0" smtClean="0"/>
                        <a:t> der Produktdefinitionsperspektive</a:t>
                      </a:r>
                      <a:endParaRPr lang="de-DE" sz="1200" b="0" dirty="0" smtClean="0"/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6894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0859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b="0" dirty="0" smtClean="0"/>
                        <a:t>3.9 Plausibilisierung</a:t>
                      </a:r>
                      <a:endParaRPr lang="de-DE" sz="1200" b="0" dirty="0" smtClean="0"/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6894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400" dirty="0" smtClean="0"/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0859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b="0" dirty="0" smtClean="0"/>
                        <a:t>3.10 Suchoptionen</a:t>
                      </a:r>
                      <a:r>
                        <a:rPr lang="de-DE" sz="1200" b="0" baseline="0" dirty="0" smtClean="0"/>
                        <a:t> &amp;Views</a:t>
                      </a:r>
                      <a:endParaRPr lang="de-DE" sz="1200" b="0" dirty="0" smtClean="0"/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6894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0859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b="1" dirty="0" smtClean="0"/>
                        <a:t>3.11</a:t>
                      </a:r>
                      <a:r>
                        <a:rPr lang="de-DE" sz="1200" b="1" baseline="0" dirty="0" smtClean="0"/>
                        <a:t> </a:t>
                      </a:r>
                      <a:r>
                        <a:rPr lang="de-DE" sz="1200" b="1" dirty="0" smtClean="0"/>
                        <a:t>Testunterstützung</a:t>
                      </a:r>
                      <a:endParaRPr lang="de-DE" sz="1200" b="1" dirty="0" smtClean="0"/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6203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400" dirty="0" smtClean="0"/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alpha val="0"/>
                      </a:schemeClr>
                    </a:solidFill>
                  </a:tcPr>
                </a:tc>
              </a:tr>
              <a:tr h="290859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b="1" dirty="0" smtClean="0"/>
                        <a:t>          </a:t>
                      </a:r>
                      <a:r>
                        <a:rPr lang="de-DE" sz="1200" b="1" dirty="0" smtClean="0"/>
                        <a:t>3.11.1</a:t>
                      </a:r>
                      <a:r>
                        <a:rPr lang="de-DE" sz="1200" b="1" baseline="0" dirty="0" smtClean="0"/>
                        <a:t> </a:t>
                      </a:r>
                      <a:r>
                        <a:rPr lang="de-DE" sz="1200" b="1" dirty="0" smtClean="0"/>
                        <a:t>Grundlagen</a:t>
                      </a:r>
                      <a:endParaRPr lang="de-DE" sz="1200" b="1" dirty="0" smtClean="0"/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7027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400" dirty="0" smtClean="0"/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alpha val="0"/>
                      </a:schemeClr>
                    </a:solidFill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400" dirty="0" smtClean="0"/>
                        <a:t>                         </a:t>
                      </a:r>
                      <a:r>
                        <a:rPr lang="de-DE" sz="1200" dirty="0" smtClean="0"/>
                        <a:t>  </a:t>
                      </a:r>
                      <a:r>
                        <a:rPr lang="de-DE" sz="1200" dirty="0" smtClean="0"/>
                        <a:t>3.11.2 Unit </a:t>
                      </a:r>
                      <a:r>
                        <a:rPr lang="de-DE" sz="1200" dirty="0" err="1" smtClean="0"/>
                        <a:t>Testing</a:t>
                      </a:r>
                      <a:r>
                        <a:rPr lang="de-DE" sz="1200" dirty="0" smtClean="0"/>
                        <a:t> ohne produktive Produktdaten</a:t>
                      </a:r>
                    </a:p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400" dirty="0" smtClean="0"/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4401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400" dirty="0" smtClean="0"/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alpha val="0"/>
                      </a:schemeClr>
                    </a:solidFill>
                  </a:tcPr>
                </a:tc>
              </a:tr>
              <a:tr h="290859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          </a:t>
                      </a:r>
                      <a:r>
                        <a:rPr lang="de-DE" sz="1200" dirty="0" smtClean="0"/>
                        <a:t>3.11.3 </a:t>
                      </a:r>
                      <a:r>
                        <a:rPr lang="de-DE" sz="1200" baseline="0" dirty="0" smtClean="0"/>
                        <a:t>Fachliche </a:t>
                      </a:r>
                      <a:r>
                        <a:rPr lang="de-DE" sz="1200" baseline="0" dirty="0" smtClean="0"/>
                        <a:t>Tests mit dem Faktor-IPS Testwerkzeug</a:t>
                      </a:r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2311" name="Titel 2"/>
          <p:cNvSpPr>
            <a:spLocks noGrp="1"/>
          </p:cNvSpPr>
          <p:nvPr>
            <p:ph type="title"/>
          </p:nvPr>
        </p:nvSpPr>
        <p:spPr>
          <a:xfrm>
            <a:off x="252413" y="179388"/>
            <a:ext cx="8639175" cy="900112"/>
          </a:xfrm>
        </p:spPr>
        <p:txBody>
          <a:bodyPr/>
          <a:lstStyle/>
          <a:p>
            <a:r>
              <a:rPr lang="de-DE" dirty="0" smtClean="0"/>
              <a:t>Inhalt - Vererbung</a:t>
            </a:r>
            <a:endParaRPr lang="pt-BR" dirty="0" smtClean="0"/>
          </a:p>
        </p:txBody>
      </p:sp>
      <p:sp>
        <p:nvSpPr>
          <p:cNvPr id="12312" name="Datumsplatzhalter 3"/>
          <p:cNvSpPr>
            <a:spLocks noGrp="1"/>
          </p:cNvSpPr>
          <p:nvPr>
            <p:ph type="dt" sz="quarter" idx="4294967295"/>
          </p:nvPr>
        </p:nvSpPr>
        <p:spPr bwMode="auto">
          <a:xfrm>
            <a:off x="250825" y="6678613"/>
            <a:ext cx="612775" cy="179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5pPr>
            <a:lvl6pPr marL="25146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6pPr>
            <a:lvl7pPr marL="29718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7pPr>
            <a:lvl8pPr marL="34290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8pPr>
            <a:lvl9pPr marL="38862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9pPr>
          </a:lstStyle>
          <a:p>
            <a:pPr defTabSz="357188" eaLnBrk="1"/>
            <a:fld id="{116DC2EA-5960-473C-9E3C-0080066EF8B7}" type="datetime1">
              <a:rPr lang="de-DE" sz="700" smtClean="0"/>
              <a:t>15.11.2012</a:t>
            </a:fld>
            <a:endParaRPr lang="de-DE" sz="70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1489867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1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Testen</a:t>
            </a: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263274" y="1376772"/>
            <a:ext cx="7280275" cy="4246563"/>
          </a:xfrm>
          <a:ln/>
        </p:spPr>
        <p:txBody>
          <a:bodyPr/>
          <a:lstStyle/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Unit </a:t>
            </a:r>
            <a:r>
              <a:rPr lang="de-DE" dirty="0" err="1"/>
              <a:t>Testing</a:t>
            </a:r>
            <a:r>
              <a:rPr lang="de-DE" dirty="0"/>
              <a:t> ohne produktive Produktdate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Verwendung von </a:t>
            </a:r>
            <a:r>
              <a:rPr lang="de-DE" dirty="0" err="1"/>
              <a:t>JUnit</a:t>
            </a:r>
            <a:r>
              <a:rPr lang="de-DE" dirty="0"/>
              <a:t> für Modultests / einzelne Funktione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Testfälle können unabhängig von produktiven Produktdaten sei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Isoliertes Testen möglich, Testfälle verwenden nicht die gleichen Testdate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Testen von Spezialfällen möglich (die möglicherweise durch produktive Produktdaten nicht abgebildet werden)</a:t>
            </a:r>
          </a:p>
          <a:p>
            <a:pPr marL="366798" indent="-285750">
              <a:spcBef>
                <a:spcPts val="600"/>
              </a:spcBef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Fachliche Tests mit dem Faktor-IPS Testwerkzeug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Integrationstest von Produktdaten &amp; Modell/</a:t>
            </a:r>
            <a:r>
              <a:rPr lang="de-DE" dirty="0" err="1"/>
              <a:t>Sourcecode</a:t>
            </a:r>
            <a:endParaRPr lang="de-DE" dirty="0"/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Fachliche Tests können vom Fachbereich erstellt werden	</a:t>
            </a:r>
          </a:p>
          <a:p>
            <a:pPr marL="366798" indent="-285750">
              <a:spcBef>
                <a:spcPts val="600"/>
              </a:spcBef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Testfälle und die benötigten Testdaten bilden ein Einheit, werden zusammen mit dem </a:t>
            </a:r>
            <a:r>
              <a:rPr lang="de-DE" dirty="0" err="1"/>
              <a:t>Sourcecode</a:t>
            </a:r>
            <a:r>
              <a:rPr lang="de-DE" dirty="0"/>
              <a:t> im KM-Tool </a:t>
            </a:r>
            <a:r>
              <a:rPr lang="de-DE" dirty="0" smtClean="0"/>
              <a:t>verwaltet 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5051304-FF6C-446C-B61E-0B48932774FD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8783479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5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Demo: Unit Testing ohne produktive Produktdaten</a:t>
            </a:r>
          </a:p>
        </p:txBody>
      </p:sp>
      <p:sp>
        <p:nvSpPr>
          <p:cNvPr id="6146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235257" y="1376772"/>
            <a:ext cx="7280275" cy="4246563"/>
          </a:xfrm>
          <a:ln/>
        </p:spPr>
        <p:txBody>
          <a:bodyPr/>
          <a:lstStyle/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Aufbauen des Inhalts des </a:t>
            </a:r>
            <a:r>
              <a:rPr lang="de-DE" dirty="0" err="1"/>
              <a:t>InMemoryRepositories</a:t>
            </a:r>
            <a:endParaRPr lang="de-DE" dirty="0"/>
          </a:p>
          <a:p>
            <a:pPr marL="366798" indent="-285750">
              <a:spcBef>
                <a:spcPts val="600"/>
              </a:spcBef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Ableitung der Klasse </a:t>
            </a:r>
            <a:r>
              <a:rPr lang="de-DE" dirty="0" err="1"/>
              <a:t>HausratGrunddeckungstypAnpStufe</a:t>
            </a:r>
            <a:endParaRPr lang="de-DE" dirty="0"/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Zugriff auf das </a:t>
            </a:r>
            <a:r>
              <a:rPr lang="de-DE" dirty="0" err="1"/>
              <a:t>protected</a:t>
            </a:r>
            <a:r>
              <a:rPr lang="de-DE" dirty="0"/>
              <a:t> Attribut </a:t>
            </a:r>
            <a:r>
              <a:rPr lang="de-DE" dirty="0" err="1"/>
              <a:t>tariftabelleName</a:t>
            </a:r>
            <a:endParaRPr lang="de-DE" dirty="0"/>
          </a:p>
          <a:p>
            <a:pPr marL="366798" indent="-285750">
              <a:spcBef>
                <a:spcPts val="600"/>
              </a:spcBef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Ableitung der Tabelle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Initialisierung des </a:t>
            </a:r>
            <a:r>
              <a:rPr lang="de-DE" dirty="0" err="1"/>
              <a:t>rows</a:t>
            </a:r>
            <a:r>
              <a:rPr lang="de-DE" dirty="0"/>
              <a:t> Attribut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Aufruf der </a:t>
            </a:r>
            <a:r>
              <a:rPr lang="de-DE" dirty="0" err="1"/>
              <a:t>initKeyMaps</a:t>
            </a:r>
            <a:r>
              <a:rPr lang="de-DE" dirty="0"/>
              <a:t>() </a:t>
            </a:r>
            <a:r>
              <a:rPr lang="de-DE" dirty="0" err="1"/>
              <a:t>Method</a:t>
            </a:r>
            <a:endParaRPr lang="de-DE" dirty="0"/>
          </a:p>
          <a:p>
            <a:pPr marL="366798" indent="-285750">
              <a:spcBef>
                <a:spcPts val="600"/>
              </a:spcBef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Testmethode für die Berechnung des Grunddeckungsbeitrags auf den Inhalt des </a:t>
            </a:r>
            <a:r>
              <a:rPr lang="de-DE" dirty="0" err="1"/>
              <a:t>InMemoryRepositories</a:t>
            </a:r>
            <a:r>
              <a:rPr lang="de-DE" dirty="0"/>
              <a:t> erstell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31ED19C-AEA1-422A-B016-4F6F5C830F5A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4522946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9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Übung: Unit Testing ohne produktive Produktdat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1D4D60D-6612-4546-BE9F-6583CE6CF5AC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1771786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3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Übung: Unit Testing ohne produktive Produktdat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D21C213-AD90-420F-8F2D-14E3774A2087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9067995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7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Demo: Fachliche Tests mit dem Faktor-IPS Testwerkzeug</a:t>
            </a:r>
          </a:p>
        </p:txBody>
      </p:sp>
      <p:sp>
        <p:nvSpPr>
          <p:cNvPr id="9218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252000" y="1376772"/>
            <a:ext cx="7281862" cy="4246563"/>
          </a:xfrm>
          <a:ln/>
        </p:spPr>
        <p:txBody>
          <a:bodyPr/>
          <a:lstStyle/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Im Modellprojekt ein Testfalltyp </a:t>
            </a:r>
            <a:r>
              <a:rPr lang="de-DE" i="1" dirty="0" err="1"/>
              <a:t>BerechnungsTest</a:t>
            </a:r>
            <a:r>
              <a:rPr lang="de-DE" dirty="0"/>
              <a:t> erstelle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Eingabe und Erwartete Attribute anlegen</a:t>
            </a:r>
          </a:p>
          <a:p>
            <a:pPr marL="366798" indent="-285750">
              <a:spcBef>
                <a:spcPts val="600"/>
              </a:spcBef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Testfalltyp Klasse implementiere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Methode: </a:t>
            </a:r>
            <a:r>
              <a:rPr lang="de-DE" dirty="0" err="1"/>
              <a:t>executeBusinessFunction</a:t>
            </a:r>
            <a:r>
              <a:rPr lang="de-DE" dirty="0"/>
              <a:t>()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Methode: </a:t>
            </a:r>
            <a:r>
              <a:rPr lang="de-DE" dirty="0" err="1"/>
              <a:t>executeAsserts</a:t>
            </a:r>
            <a:r>
              <a:rPr lang="de-DE" dirty="0"/>
              <a:t>()</a:t>
            </a:r>
          </a:p>
          <a:p>
            <a:pPr marL="985886" lvl="2" indent="-164516">
              <a:buClr>
                <a:schemeClr val="tx1"/>
              </a:buClr>
              <a:buSzPct val="45000"/>
              <a:buFont typeface="Wingdings" charset="2"/>
              <a:buChar char="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Zugriff auf zusätzlich angelegte Attribute für direkt berechnete Werte</a:t>
            </a:r>
          </a:p>
          <a:p>
            <a:pPr marL="985886" lvl="2" indent="-164516">
              <a:buClr>
                <a:schemeClr val="tx1"/>
              </a:buClr>
              <a:buSzPct val="45000"/>
              <a:buFont typeface="Wingdings" charset="2"/>
              <a:buChar char="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Notation für Zuordnung Wert ↔ Eingabefeld</a:t>
            </a:r>
          </a:p>
          <a:p>
            <a:pPr marL="366798" indent="-285750">
              <a:spcBef>
                <a:spcPts val="600"/>
              </a:spcBef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Im Produktdatenprojekt Testfall erstell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89E9359-A6B7-4E37-9851-7884EEB3DCAA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9662116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1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Übung: Fachliche Tests mit dem Faktor-IPS Testwerkzeug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4AE85AB-F202-4CCA-A1D4-7E8A6176FD9C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6710919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Weitere Informationen</a:t>
            </a:r>
          </a:p>
        </p:txBody>
      </p:sp>
      <p:sp>
        <p:nvSpPr>
          <p:cNvPr id="11266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252000" y="1340768"/>
            <a:ext cx="7280275" cy="4246563"/>
          </a:xfrm>
          <a:ln/>
        </p:spPr>
        <p:txBody>
          <a:bodyPr/>
          <a:lstStyle/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www.faktorzehn.org</a:t>
            </a:r>
          </a:p>
          <a:p>
            <a:pPr marL="366798" indent="-285750">
              <a:spcBef>
                <a:spcPts val="600"/>
              </a:spcBef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Völter, Stahl: Modellgetriebene Softwareentwicklung</a:t>
            </a:r>
          </a:p>
          <a:p>
            <a:pPr marL="366798" indent="-285750">
              <a:spcBef>
                <a:spcPts val="600"/>
              </a:spcBef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Evans: Domain </a:t>
            </a:r>
            <a:r>
              <a:rPr lang="de-DE" dirty="0" err="1"/>
              <a:t>Driven</a:t>
            </a:r>
            <a:r>
              <a:rPr lang="de-DE" dirty="0"/>
              <a:t> Design</a:t>
            </a:r>
          </a:p>
          <a:p>
            <a:pPr marL="366798" indent="-285750">
              <a:spcBef>
                <a:spcPts val="600"/>
              </a:spcBef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Martin Fowler: Patterns </a:t>
            </a:r>
            <a:r>
              <a:rPr lang="de-DE" dirty="0" err="1"/>
              <a:t>of</a:t>
            </a:r>
            <a:r>
              <a:rPr lang="de-DE" dirty="0"/>
              <a:t> Enterprise </a:t>
            </a:r>
            <a:r>
              <a:rPr lang="de-DE" dirty="0" err="1"/>
              <a:t>Application</a:t>
            </a:r>
            <a:r>
              <a:rPr lang="de-DE" dirty="0"/>
              <a:t> </a:t>
            </a:r>
            <a:r>
              <a:rPr lang="de-DE" dirty="0" err="1"/>
              <a:t>Architecture</a:t>
            </a:r>
            <a:endParaRPr lang="de-DE" dirty="0"/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 err="1"/>
              <a:t>ValueObjects</a:t>
            </a:r>
            <a:r>
              <a:rPr lang="de-DE" dirty="0"/>
              <a:t>, </a:t>
            </a:r>
            <a:r>
              <a:rPr lang="de-DE" dirty="0" err="1"/>
              <a:t>SpecialCase</a:t>
            </a:r>
            <a:r>
              <a:rPr lang="de-DE" dirty="0"/>
              <a:t>, Money</a:t>
            </a:r>
          </a:p>
          <a:p>
            <a:pPr marL="366798" indent="-285750">
              <a:spcBef>
                <a:spcPts val="600"/>
              </a:spcBef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Joshua Bloch: </a:t>
            </a:r>
            <a:r>
              <a:rPr lang="de-DE" dirty="0" err="1"/>
              <a:t>Effective</a:t>
            </a:r>
            <a:r>
              <a:rPr lang="de-DE" dirty="0"/>
              <a:t> Java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Kapitel 8: </a:t>
            </a:r>
            <a:r>
              <a:rPr lang="de-DE" dirty="0" err="1"/>
              <a:t>Exceptions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1C5ABB1-4E50-4BF9-ACA6-4A2F8681C13E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1848024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heme/theme1.xml><?xml version="1.0" encoding="utf-8"?>
<a:theme xmlns:a="http://schemas.openxmlformats.org/drawingml/2006/main" name="Master - ConVista General ">
  <a:themeElements>
    <a:clrScheme name="CONVISTA">
      <a:dk1>
        <a:srgbClr val="005596"/>
      </a:dk1>
      <a:lt1>
        <a:srgbClr val="FFFFFF"/>
      </a:lt1>
      <a:dk2>
        <a:srgbClr val="585858"/>
      </a:dk2>
      <a:lt2>
        <a:srgbClr val="B2B2B2"/>
      </a:lt2>
      <a:accent1>
        <a:srgbClr val="39A9DC"/>
      </a:accent1>
      <a:accent2>
        <a:srgbClr val="EE7F00"/>
      </a:accent2>
      <a:accent3>
        <a:srgbClr val="FFFFFF"/>
      </a:accent3>
      <a:accent4>
        <a:srgbClr val="585858"/>
      </a:accent4>
      <a:accent5>
        <a:srgbClr val="B2B2B2"/>
      </a:accent5>
      <a:accent6>
        <a:srgbClr val="172D5F"/>
      </a:accent6>
      <a:hlink>
        <a:srgbClr val="005596"/>
      </a:hlink>
      <a:folHlink>
        <a:srgbClr val="585858"/>
      </a:folHlink>
    </a:clrScheme>
    <a:fontScheme name="Terms of Reference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cap="flat">
          <a:solidFill>
            <a:schemeClr val="tx2"/>
          </a:solidFill>
          <a:prstDash val="solid"/>
          <a:miter lim="800000"/>
          <a:headEnd type="none" w="med" len="med"/>
          <a:tailEnd type="none" w="med" len="med"/>
        </a:ln>
        <a:effectLst/>
      </a:spPr>
      <a:bodyPr lIns="72000" tIns="72000" rIns="72000" bIns="72000" rtlCol="0" anchor="t"/>
      <a:lstStyle>
        <a:defPPr marL="180975" indent="-180975" algn="l">
          <a:lnSpc>
            <a:spcPct val="90000"/>
          </a:lnSpc>
          <a:spcBef>
            <a:spcPts val="500"/>
          </a:spcBef>
          <a:buClr>
            <a:schemeClr val="tx2"/>
          </a:buClr>
          <a:buSzPct val="100000"/>
          <a:buFont typeface="Wingdings" pitchFamily="2" charset="2"/>
          <a:buChar char="§"/>
          <a:tabLst>
            <a:tab pos="180975" algn="l"/>
          </a:tabLst>
          <a:defRPr sz="1100" dirty="0" err="1" smtClean="0">
            <a:solidFill>
              <a:schemeClr val="tx2"/>
            </a:solidFill>
            <a:sym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36000" tIns="36000" rIns="36000" bIns="36000" rtlCol="0">
        <a:spAutoFit/>
      </a:bodyPr>
      <a:lstStyle>
        <a:defPPr>
          <a:spcAft>
            <a:spcPts val="600"/>
          </a:spcAft>
          <a:defRPr sz="16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Terms of Reference Master 1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rms of Reference Master 2">
        <a:dk1>
          <a:srgbClr val="585858"/>
        </a:dk1>
        <a:lt1>
          <a:srgbClr val="FFFFFF"/>
        </a:lt1>
        <a:dk2>
          <a:srgbClr val="585858"/>
        </a:dk2>
        <a:lt2>
          <a:srgbClr val="B2B2B2"/>
        </a:lt2>
        <a:accent1>
          <a:srgbClr val="004C88"/>
        </a:accent1>
        <a:accent2>
          <a:srgbClr val="FF9900"/>
        </a:accent2>
        <a:accent3>
          <a:srgbClr val="FFFFFF"/>
        </a:accent3>
        <a:accent4>
          <a:srgbClr val="4A4A4A"/>
        </a:accent4>
        <a:accent5>
          <a:srgbClr val="AAB2C3"/>
        </a:accent5>
        <a:accent6>
          <a:srgbClr val="E78A00"/>
        </a:accent6>
        <a:hlink>
          <a:srgbClr val="3F649B"/>
        </a:hlink>
        <a:folHlink>
          <a:srgbClr val="A0C2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79</Words>
  <Application>Microsoft Office PowerPoint</Application>
  <PresentationFormat>Bildschirmpräsentation (4:3)</PresentationFormat>
  <Paragraphs>66</Paragraphs>
  <Slides>8</Slides>
  <Notes>7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9" baseType="lpstr">
      <vt:lpstr>Master - ConVista General </vt:lpstr>
      <vt:lpstr>Inhalt - Vererbung</vt:lpstr>
      <vt:lpstr>Testen</vt:lpstr>
      <vt:lpstr>Demo: Unit Testing ohne produktive Produktdaten</vt:lpstr>
      <vt:lpstr>Übung: Unit Testing ohne produktive Produktdaten</vt:lpstr>
      <vt:lpstr>Übung: Unit Testing ohne produktive Produktdaten</vt:lpstr>
      <vt:lpstr>Demo: Fachliche Tests mit dem Faktor-IPS Testwerkzeug</vt:lpstr>
      <vt:lpstr>Übung: Fachliche Tests mit dem Faktor-IPS Testwerkzeug</vt:lpstr>
      <vt:lpstr>Weitere Informationen</vt:lpstr>
    </vt:vector>
  </TitlesOfParts>
  <Company>Convista Consulting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Point Master</dc:title>
  <dc:creator>ConVista Consulting AG</dc:creator>
  <dc:description>© ConVista Consulting AG 2012</dc:description>
  <cp:lastModifiedBy>nbschediwy</cp:lastModifiedBy>
  <cp:revision>1590</cp:revision>
  <cp:lastPrinted>2012-07-27T08:00:17Z</cp:lastPrinted>
  <dcterms:created xsi:type="dcterms:W3CDTF">2005-03-22T09:36:15Z</dcterms:created>
  <dcterms:modified xsi:type="dcterms:W3CDTF">2012-11-15T17:45:59Z</dcterms:modified>
  <cp:category>Master</cp:category>
  <cp:contentStatus>RELEASED</cp:contentStatus>
</cp:coreProperties>
</file>